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8.png"/><Relationship Id="rId5" Type="http://schemas.openxmlformats.org/officeDocument/2006/relationships/tags" Target="../tags/tag5.xml"/><Relationship Id="rId10" Type="http://schemas.openxmlformats.org/officeDocument/2006/relationships/image" Target="../media/image7.png"/><Relationship Id="rId4" Type="http://schemas.openxmlformats.org/officeDocument/2006/relationships/tags" Target="../tags/tag4.xml"/><Relationship Id="rId9" Type="http://schemas.openxmlformats.org/officeDocument/2006/relationships/image" Target="../media/image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54" y="0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55" name="6 Rectángulo">
            <a:extLst>
              <a:ext uri="{FF2B5EF4-FFF2-40B4-BE49-F238E27FC236}">
                <a16:creationId xmlns:a16="http://schemas.microsoft.com/office/drawing/2014/main" id="{9429F675-CCE2-40FA-9B30-059FFC8B8720}"/>
              </a:ext>
            </a:extLst>
          </p:cNvPr>
          <p:cNvSpPr/>
          <p:nvPr/>
        </p:nvSpPr>
        <p:spPr>
          <a:xfrm>
            <a:off x="194349" y="274919"/>
            <a:ext cx="107928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</a:t>
            </a:r>
            <a:r>
              <a:rPr lang="es-ES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, mejoramiento y conservación de la infraestructura física general en el establecimiento  EPMSC CARTAGO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</p:txBody>
      </p:sp>
      <p:sp>
        <p:nvSpPr>
          <p:cNvPr id="56" name="Rectangle 181">
            <a:extLst>
              <a:ext uri="{FF2B5EF4-FFF2-40B4-BE49-F238E27FC236}">
                <a16:creationId xmlns:a16="http://schemas.microsoft.com/office/drawing/2014/main" id="{CAA65307-D3F1-428E-B67A-70AE0CFB24D6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3343" y="1000996"/>
            <a:ext cx="4788958" cy="22008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Rectangle 181">
            <a:extLst>
              <a:ext uri="{FF2B5EF4-FFF2-40B4-BE49-F238E27FC236}">
                <a16:creationId xmlns:a16="http://schemas.microsoft.com/office/drawing/2014/main" id="{7603076F-0027-4846-85F3-96833168E3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69807" y="971792"/>
            <a:ext cx="5831498" cy="249286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Rectangle 181">
            <a:extLst>
              <a:ext uri="{FF2B5EF4-FFF2-40B4-BE49-F238E27FC236}">
                <a16:creationId xmlns:a16="http://schemas.microsoft.com/office/drawing/2014/main" id="{65479D4E-B946-4B69-85EE-7B45D48ECD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4355" y="3217819"/>
            <a:ext cx="4874309" cy="220083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CuadroTexto 42">
            <a:extLst>
              <a:ext uri="{FF2B5EF4-FFF2-40B4-BE49-F238E27FC236}">
                <a16:creationId xmlns:a16="http://schemas.microsoft.com/office/drawing/2014/main" id="{B9BFB7A8-E852-46BC-B9AF-CAB3835FC06D}"/>
              </a:ext>
            </a:extLst>
          </p:cNvPr>
          <p:cNvSpPr txBox="1"/>
          <p:nvPr/>
        </p:nvSpPr>
        <p:spPr>
          <a:xfrm>
            <a:off x="187991" y="1376523"/>
            <a:ext cx="4874310" cy="175432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E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realizó visita de seguimiento el día 26 de Agosto de 2019, donde participo  Dirección del establecimiento , ENTERRITORIO , Interventoría y Contratista de Obra. Se visita cada uno de los frentes intervenidos, dejando observaciones por atender.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E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etapa de ejecución culmino el pasado  3 de septiembre de 2019.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ualmente presente un avance programado del 100% versus un avance ejecutado del 100%.</a:t>
            </a: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E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esta coordinando la entrega y recibo del establecimiento.</a:t>
            </a:r>
          </a:p>
          <a:p>
            <a:pPr algn="just">
              <a:defRPr/>
            </a:pP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0" name="Tabla 59">
            <a:extLst>
              <a:ext uri="{FF2B5EF4-FFF2-40B4-BE49-F238E27FC236}">
                <a16:creationId xmlns:a16="http://schemas.microsoft.com/office/drawing/2014/main" id="{716A5128-E459-4ECA-9B2A-5261B28AB0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7591134"/>
              </p:ext>
            </p:extLst>
          </p:nvPr>
        </p:nvGraphicFramePr>
        <p:xfrm>
          <a:off x="5669806" y="3429000"/>
          <a:ext cx="5831499" cy="306335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7703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11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814">
                <a:tc>
                  <a:txBody>
                    <a:bodyPr/>
                    <a:lstStyle/>
                    <a:p>
                      <a:pPr algn="l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ierre</a:t>
                      </a:r>
                      <a:endParaRPr lang="es-CO" sz="9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1625">
                <a:tc>
                  <a:txBody>
                    <a:bodyPr/>
                    <a:lstStyle/>
                    <a:p>
                      <a:pPr algn="just"/>
                      <a:r>
                        <a:rPr lang="es-CO" sz="9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 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 abril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625">
                <a:tc>
                  <a:txBody>
                    <a:bodyPr/>
                    <a:lstStyle/>
                    <a:p>
                      <a:pPr algn="just"/>
                      <a:r>
                        <a:rPr lang="es-CO" sz="900" b="1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etapa 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 juni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1625">
                <a:tc>
                  <a:txBody>
                    <a:bodyPr/>
                    <a:lstStyle/>
                    <a:p>
                      <a:pPr algn="just"/>
                      <a:r>
                        <a:rPr lang="es-CO" sz="9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 2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9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octubre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6761520"/>
                  </a:ext>
                </a:extLst>
              </a:tr>
              <a:tr h="221625">
                <a:tc>
                  <a:txBody>
                    <a:bodyPr/>
                    <a:lstStyle/>
                    <a:p>
                      <a:pPr algn="just"/>
                      <a:r>
                        <a:rPr lang="es-CO" sz="900" b="1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etapa 2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septiembre de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6837320"/>
                  </a:ext>
                </a:extLst>
              </a:tr>
              <a:tr h="221625">
                <a:tc>
                  <a:txBody>
                    <a:bodyPr/>
                    <a:lstStyle/>
                    <a:p>
                      <a:r>
                        <a:rPr lang="es-CO" sz="900" b="1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tor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9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TERRITORI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162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900" b="1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supuest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90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1.748.872.527</a:t>
                      </a:r>
                      <a:endParaRPr lang="es-CO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1625">
                <a:tc>
                  <a:txBody>
                    <a:bodyPr/>
                    <a:lstStyle/>
                    <a:p>
                      <a:r>
                        <a:rPr lang="es-CO" sz="9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0.64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1625">
                <a:tc>
                  <a:txBody>
                    <a:bodyPr/>
                    <a:lstStyle/>
                    <a:p>
                      <a:r>
                        <a:rPr lang="es-CO" sz="9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 obra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005954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s-CO" sz="900" b="1" kern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900" b="1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" sz="9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 esta recopilando la documentación necesaria para la entrega y recibo a satisfacción por la USPEC </a:t>
                      </a:r>
                      <a:endParaRPr lang="es-419" sz="90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1" name="28 CuadroTexto">
            <a:extLst>
              <a:ext uri="{FF2B5EF4-FFF2-40B4-BE49-F238E27FC236}">
                <a16:creationId xmlns:a16="http://schemas.microsoft.com/office/drawing/2014/main" id="{B108F93C-D767-4732-A979-E01EC416740F}"/>
              </a:ext>
            </a:extLst>
          </p:cNvPr>
          <p:cNvSpPr txBox="1"/>
          <p:nvPr/>
        </p:nvSpPr>
        <p:spPr>
          <a:xfrm>
            <a:off x="5669807" y="1319438"/>
            <a:ext cx="5831499" cy="189282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resultado del Alcance es el siguiente:</a:t>
            </a:r>
            <a:endParaRPr lang="es-419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ecuación de Tanque de reserva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ermeabilización Edificio celdas (terraza 5 piso) y tratamiento dilatación epóxico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 y cambio de red eléctrica de celdas y pasillo (4 piso)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 de baterías sanitarias y duchas (4 piso)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mbio de redes de acueducto y alcantarillado (fachada edificio)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ción UTE, acceso, aislamiento, archivo de sanidad, adecuación celda primaria(recepción) y demolición UTE existente. 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 general rancho, adecuación áreas (producto no conforme, residuos sólidos), construcción de baterías sanitarias y cubierta arquitectónica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ecuación áreas de visitas y requisas cubiertas arquitectónicas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inistro e instalación de cubierta arquitectónica (acceso de visitas).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ermeabilización terraza (área administrativa).</a:t>
            </a:r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2" name="Picture 3">
            <a:extLst>
              <a:ext uri="{FF2B5EF4-FFF2-40B4-BE49-F238E27FC236}">
                <a16:creationId xmlns:a16="http://schemas.microsoft.com/office/drawing/2014/main" id="{B83956A9-47B4-4D18-9E6D-5C5E3A66E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356" y="3655875"/>
            <a:ext cx="2247731" cy="2576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4">
            <a:extLst>
              <a:ext uri="{FF2B5EF4-FFF2-40B4-BE49-F238E27FC236}">
                <a16:creationId xmlns:a16="http://schemas.microsoft.com/office/drawing/2014/main" id="{2AD8B87E-048F-4DC4-AB79-1683A4AEC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1150" y="4943243"/>
            <a:ext cx="2454634" cy="1289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5">
            <a:extLst>
              <a:ext uri="{FF2B5EF4-FFF2-40B4-BE49-F238E27FC236}">
                <a16:creationId xmlns:a16="http://schemas.microsoft.com/office/drawing/2014/main" id="{DA0F3D83-1A71-4DE5-92FE-AC3BA0B5B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1150" y="3655875"/>
            <a:ext cx="2428321" cy="1143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544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sp>
        <p:nvSpPr>
          <p:cNvPr id="50" name="Rectangle 178">
            <a:extLst>
              <a:ext uri="{FF2B5EF4-FFF2-40B4-BE49-F238E27FC236}">
                <a16:creationId xmlns:a16="http://schemas.microsoft.com/office/drawing/2014/main" id="{25E88758-C0C4-463D-8D44-42E974BC82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4896" y="5681569"/>
            <a:ext cx="2783274" cy="43564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Andres Traslaviña/ Supervisor </a:t>
            </a:r>
            <a:r>
              <a:rPr lang="es-CO" sz="800" dirty="0" err="1"/>
              <a:t>Enterritorio</a:t>
            </a:r>
            <a:endParaRPr lang="es-CO" sz="800" dirty="0"/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5940407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endParaRPr lang="es-CO" sz="8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grpSp>
        <p:nvGrpSpPr>
          <p:cNvPr id="134" name="Group 120">
            <a:extLst>
              <a:ext uri="{FF2B5EF4-FFF2-40B4-BE49-F238E27FC236}">
                <a16:creationId xmlns:a16="http://schemas.microsoft.com/office/drawing/2014/main" id="{D8EDE30C-BDF8-4528-B00D-F31D14B2B44F}"/>
              </a:ext>
            </a:extLst>
          </p:cNvPr>
          <p:cNvGrpSpPr>
            <a:grpSpLocks/>
          </p:cNvGrpSpPr>
          <p:nvPr/>
        </p:nvGrpSpPr>
        <p:grpSpPr bwMode="auto">
          <a:xfrm>
            <a:off x="8654694" y="-37132"/>
            <a:ext cx="2771299" cy="1125172"/>
            <a:chOff x="4071" y="1279"/>
            <a:chExt cx="1124" cy="350"/>
          </a:xfrm>
        </p:grpSpPr>
        <p:pic>
          <p:nvPicPr>
            <p:cNvPr id="135" name="Picture 121" descr="j0432549">
              <a:extLst>
                <a:ext uri="{FF2B5EF4-FFF2-40B4-BE49-F238E27FC236}">
                  <a16:creationId xmlns:a16="http://schemas.microsoft.com/office/drawing/2014/main" id="{B73E540B-81BE-49BF-955B-432A36DE6D0F}"/>
                </a:ext>
              </a:extLst>
            </p:cNvPr>
            <p:cNvPicPr>
              <a:picLocks noChangeArrowheads="1"/>
            </p:cNvPicPr>
            <p:nvPr>
              <p:custDataLst>
                <p:tags r:id="rId3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2" y="1279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6" name="Oval 125">
              <a:extLst>
                <a:ext uri="{FF2B5EF4-FFF2-40B4-BE49-F238E27FC236}">
                  <a16:creationId xmlns:a16="http://schemas.microsoft.com/office/drawing/2014/main" id="{E552F77C-3815-4AA5-B447-E76C0118DD7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10800000">
              <a:off x="4073" y="1566"/>
              <a:ext cx="38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  <p:sp>
          <p:nvSpPr>
            <p:cNvPr id="137" name="Oval 133">
              <a:extLst>
                <a:ext uri="{FF2B5EF4-FFF2-40B4-BE49-F238E27FC236}">
                  <a16:creationId xmlns:a16="http://schemas.microsoft.com/office/drawing/2014/main" id="{F87D036A-B672-41CF-98F6-36EDB75DA2C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10800000">
              <a:off x="4071" y="1366"/>
              <a:ext cx="40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</p:grpSp>
      <p:sp>
        <p:nvSpPr>
          <p:cNvPr id="158" name="Oval 131">
            <a:extLst>
              <a:ext uri="{FF2B5EF4-FFF2-40B4-BE49-F238E27FC236}">
                <a16:creationId xmlns:a16="http://schemas.microsoft.com/office/drawing/2014/main" id="{04A44F03-AF96-4A2F-9F40-5BD0CC46DF0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953835" y="432091"/>
            <a:ext cx="178356" cy="2641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  <p:sp>
        <p:nvSpPr>
          <p:cNvPr id="159" name="Oval 131">
            <a:extLst>
              <a:ext uri="{FF2B5EF4-FFF2-40B4-BE49-F238E27FC236}">
                <a16:creationId xmlns:a16="http://schemas.microsoft.com/office/drawing/2014/main" id="{5029FB37-0C81-42D8-96E8-C0C9CE23374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953835" y="117562"/>
            <a:ext cx="178356" cy="2641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  <p:sp>
        <p:nvSpPr>
          <p:cNvPr id="181" name="6 Rectángulo">
            <a:extLst>
              <a:ext uri="{FF2B5EF4-FFF2-40B4-BE49-F238E27FC236}">
                <a16:creationId xmlns:a16="http://schemas.microsoft.com/office/drawing/2014/main" id="{4E654BCA-6485-4F01-82A9-FF9DF6FE4146}"/>
              </a:ext>
            </a:extLst>
          </p:cNvPr>
          <p:cNvSpPr/>
          <p:nvPr/>
        </p:nvSpPr>
        <p:spPr>
          <a:xfrm>
            <a:off x="130504" y="434487"/>
            <a:ext cx="790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: </a:t>
            </a:r>
            <a:r>
              <a:rPr lang="es-CO" sz="1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MPLIMIENTO A LA SENTENCIA FALLO  T-762</a:t>
            </a:r>
            <a:endParaRPr lang="es-CO" sz="16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AC240690-15F5-4424-AC85-1CE0925D0CC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1723" y="1051536"/>
            <a:ext cx="4515522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Avance Real</a:t>
            </a:r>
          </a:p>
        </p:txBody>
      </p:sp>
      <p:sp>
        <p:nvSpPr>
          <p:cNvPr id="183" name="Rectangle 184">
            <a:extLst>
              <a:ext uri="{FF2B5EF4-FFF2-40B4-BE49-F238E27FC236}">
                <a16:creationId xmlns:a16="http://schemas.microsoft.com/office/drawing/2014/main" id="{B5544F59-02E5-4D3E-A04A-013C89E6BD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1723" y="1437692"/>
            <a:ext cx="4525397" cy="2317268"/>
          </a:xfrm>
          <a:prstGeom prst="rect">
            <a:avLst/>
          </a:prstGeom>
          <a:solidFill>
            <a:srgbClr val="FFFFFF"/>
          </a:solidFill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defTabSz="457200" fontAlgn="ctr"/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4" name="Rectangle 181">
            <a:extLst>
              <a:ext uri="{FF2B5EF4-FFF2-40B4-BE49-F238E27FC236}">
                <a16:creationId xmlns:a16="http://schemas.microsoft.com/office/drawing/2014/main" id="{716C2E65-01F9-4FDE-9B8A-6754097278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6620" y="1051536"/>
            <a:ext cx="2947220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E356BE45-3A48-4597-A3E4-16E4F8A8E4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02445" y="1314990"/>
            <a:ext cx="2955569" cy="2404081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ega de áreas al establecimiento.</a:t>
            </a:r>
          </a:p>
          <a:p>
            <a:pPr marL="628650" lvl="1" indent="-171450" algn="just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ega documentos a ENTERRITORIO.</a:t>
            </a: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ega documentos a USPEC</a:t>
            </a: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sitas de entrega</a:t>
            </a:r>
          </a:p>
        </p:txBody>
      </p:sp>
      <p:sp>
        <p:nvSpPr>
          <p:cNvPr id="186" name="Rectangle 186">
            <a:extLst>
              <a:ext uri="{FF2B5EF4-FFF2-40B4-BE49-F238E27FC236}">
                <a16:creationId xmlns:a16="http://schemas.microsoft.com/office/drawing/2014/main" id="{E39CCAFD-61C0-49D2-BFC7-CB5CF2E53AC1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984099" y="1026837"/>
            <a:ext cx="647027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92F72E00-6031-421D-A25C-3014CD7A6FCB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984098" y="1308489"/>
            <a:ext cx="721395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/10/20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br>
              <a:rPr lang="en-GB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/10/20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br>
              <a:rPr lang="en-GB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/10/20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br>
              <a:rPr lang="en-GB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/10/2019</a:t>
            </a:r>
          </a:p>
        </p:txBody>
      </p:sp>
      <p:sp>
        <p:nvSpPr>
          <p:cNvPr id="188" name="Rectangle 186">
            <a:extLst>
              <a:ext uri="{FF2B5EF4-FFF2-40B4-BE49-F238E27FC236}">
                <a16:creationId xmlns:a16="http://schemas.microsoft.com/office/drawing/2014/main" id="{18CBE82B-2624-4A61-9B96-2E9347A7D558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09668" y="1026837"/>
            <a:ext cx="578312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189" name="Rectangle 183">
            <a:extLst>
              <a:ext uri="{FF2B5EF4-FFF2-40B4-BE49-F238E27FC236}">
                <a16:creationId xmlns:a16="http://schemas.microsoft.com/office/drawing/2014/main" id="{8EBBB9DC-32D2-424D-920D-89380FD30F96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366522" y="1021587"/>
            <a:ext cx="498009" cy="24552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190" name="Rectangle 186">
            <a:extLst>
              <a:ext uri="{FF2B5EF4-FFF2-40B4-BE49-F238E27FC236}">
                <a16:creationId xmlns:a16="http://schemas.microsoft.com/office/drawing/2014/main" id="{1789E7ED-8284-42F9-8EAF-5ABE30F17DE7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333366" y="1267116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1" name="Rectangle 181">
            <a:extLst>
              <a:ext uri="{FF2B5EF4-FFF2-40B4-BE49-F238E27FC236}">
                <a16:creationId xmlns:a16="http://schemas.microsoft.com/office/drawing/2014/main" id="{1652C3D3-4AB3-4030-9E3C-0A429A2D3B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4971" y="3913941"/>
            <a:ext cx="3009803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sp>
        <p:nvSpPr>
          <p:cNvPr id="192" name="Rectangle 181">
            <a:extLst>
              <a:ext uri="{FF2B5EF4-FFF2-40B4-BE49-F238E27FC236}">
                <a16:creationId xmlns:a16="http://schemas.microsoft.com/office/drawing/2014/main" id="{7C43CD21-8178-45A0-AE72-9F0FF3588F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97111" y="3914535"/>
            <a:ext cx="3032964" cy="266880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237744" rIns="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esgos y acciones tomadas</a:t>
            </a:r>
          </a:p>
        </p:txBody>
      </p:sp>
      <p:sp>
        <p:nvSpPr>
          <p:cNvPr id="193" name="Rectangle 181">
            <a:extLst>
              <a:ext uri="{FF2B5EF4-FFF2-40B4-BE49-F238E27FC236}">
                <a16:creationId xmlns:a16="http://schemas.microsoft.com/office/drawing/2014/main" id="{18664EA5-2029-456A-B742-B60DE0C5032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83571" y="3908552"/>
            <a:ext cx="3860126" cy="264301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194" name="Rectangle 178">
            <a:extLst>
              <a:ext uri="{FF2B5EF4-FFF2-40B4-BE49-F238E27FC236}">
                <a16:creationId xmlns:a16="http://schemas.microsoft.com/office/drawing/2014/main" id="{1B422789-E90C-464E-91E7-93255B17FC7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2643" y="4314036"/>
            <a:ext cx="3821391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5" name="Rectangle 178">
            <a:extLst>
              <a:ext uri="{FF2B5EF4-FFF2-40B4-BE49-F238E27FC236}">
                <a16:creationId xmlns:a16="http://schemas.microsoft.com/office/drawing/2014/main" id="{AAE247E2-A6AB-4DF5-98A9-FC1DB013AA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42642" y="4300721"/>
            <a:ext cx="3032964" cy="21742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7" name="Rectangle 186">
            <a:extLst>
              <a:ext uri="{FF2B5EF4-FFF2-40B4-BE49-F238E27FC236}">
                <a16:creationId xmlns:a16="http://schemas.microsoft.com/office/drawing/2014/main" id="{8D97E15A-9C20-4FD5-B202-2BF535ECCD8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13842" y="1290262"/>
            <a:ext cx="608734" cy="2003468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s-ES" sz="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</a:t>
            </a:r>
          </a:p>
        </p:txBody>
      </p:sp>
      <p:sp>
        <p:nvSpPr>
          <p:cNvPr id="199" name="CuadroTexto 198">
            <a:extLst>
              <a:ext uri="{FF2B5EF4-FFF2-40B4-BE49-F238E27FC236}">
                <a16:creationId xmlns:a16="http://schemas.microsoft.com/office/drawing/2014/main" id="{B34801B1-638F-4465-9AE0-CE10929681CE}"/>
              </a:ext>
            </a:extLst>
          </p:cNvPr>
          <p:cNvSpPr txBox="1"/>
          <p:nvPr/>
        </p:nvSpPr>
        <p:spPr>
          <a:xfrm>
            <a:off x="325337" y="4306959"/>
            <a:ext cx="27399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200" dirty="0"/>
              <a:t>Etapa 1: 100%</a:t>
            </a:r>
          </a:p>
          <a:p>
            <a:pPr algn="just"/>
            <a:r>
              <a:rPr lang="es-CO" sz="1200" dirty="0"/>
              <a:t>Etapa 2: 80.64% ejecutado de la etapa de obra vs Programado el 90%. El Corte de Obra N° 11 no fue claro. Se están subsanando observaciones.</a:t>
            </a:r>
          </a:p>
        </p:txBody>
      </p:sp>
      <p:pic>
        <p:nvPicPr>
          <p:cNvPr id="200" name="Imagen 199">
            <a:extLst>
              <a:ext uri="{FF2B5EF4-FFF2-40B4-BE49-F238E27FC236}">
                <a16:creationId xmlns:a16="http://schemas.microsoft.com/office/drawing/2014/main" id="{670A7FB5-53FD-4445-A235-B6E585884AF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0964" y="1521019"/>
            <a:ext cx="4285397" cy="1622940"/>
          </a:xfrm>
          <a:prstGeom prst="rect">
            <a:avLst/>
          </a:prstGeom>
        </p:spPr>
      </p:pic>
      <p:sp>
        <p:nvSpPr>
          <p:cNvPr id="201" name="26 Elipse">
            <a:extLst>
              <a:ext uri="{FF2B5EF4-FFF2-40B4-BE49-F238E27FC236}">
                <a16:creationId xmlns:a16="http://schemas.microsoft.com/office/drawing/2014/main" id="{A004A4D8-BC10-4E4E-A78A-BD753A86240D}"/>
              </a:ext>
            </a:extLst>
          </p:cNvPr>
          <p:cNvSpPr/>
          <p:nvPr/>
        </p:nvSpPr>
        <p:spPr>
          <a:xfrm>
            <a:off x="9452017" y="1398859"/>
            <a:ext cx="213478" cy="208992"/>
          </a:xfrm>
          <a:prstGeom prst="ellipse">
            <a:avLst/>
          </a:prstGeom>
          <a:solidFill>
            <a:srgbClr val="92D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202" name="26 Elipse">
            <a:extLst>
              <a:ext uri="{FF2B5EF4-FFF2-40B4-BE49-F238E27FC236}">
                <a16:creationId xmlns:a16="http://schemas.microsoft.com/office/drawing/2014/main" id="{EFAD51C9-3EB4-4C20-A365-B79E3936E5B7}"/>
              </a:ext>
            </a:extLst>
          </p:cNvPr>
          <p:cNvSpPr/>
          <p:nvPr/>
        </p:nvSpPr>
        <p:spPr>
          <a:xfrm>
            <a:off x="9452017" y="1975103"/>
            <a:ext cx="213478" cy="208992"/>
          </a:xfrm>
          <a:prstGeom prst="ellipse">
            <a:avLst/>
          </a:prstGeom>
          <a:solidFill>
            <a:srgbClr val="92D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203" name="150 Proceso">
            <a:extLst>
              <a:ext uri="{FF2B5EF4-FFF2-40B4-BE49-F238E27FC236}">
                <a16:creationId xmlns:a16="http://schemas.microsoft.com/office/drawing/2014/main" id="{66693F80-0231-4319-BEF0-D3388E739F81}"/>
              </a:ext>
            </a:extLst>
          </p:cNvPr>
          <p:cNvSpPr/>
          <p:nvPr/>
        </p:nvSpPr>
        <p:spPr>
          <a:xfrm>
            <a:off x="2863633" y="3964356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13</TotalTime>
  <Words>416</Words>
  <Application>Microsoft Office PowerPoint</Application>
  <PresentationFormat>Panorámica</PresentationFormat>
  <Paragraphs>79</Paragraphs>
  <Slides>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64</cp:revision>
  <cp:lastPrinted>2019-10-29T22:15:30Z</cp:lastPrinted>
  <dcterms:created xsi:type="dcterms:W3CDTF">2019-06-28T15:32:40Z</dcterms:created>
  <dcterms:modified xsi:type="dcterms:W3CDTF">2020-04-14T00:5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